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2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B73-43DB-93AB-E5385477926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B73-43DB-93AB-E5385477926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B73-43DB-93AB-E53854779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3450015"/>
        <c:axId val="573459135"/>
      </c:lineChart>
      <c:catAx>
        <c:axId val="573450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9135"/>
        <c:crosses val="autoZero"/>
        <c:auto val="1"/>
        <c:lblAlgn val="ctr"/>
        <c:lblOffset val="100"/>
        <c:noMultiLvlLbl val="0"/>
      </c:catAx>
      <c:valAx>
        <c:axId val="5734591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00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732C36-5358-556F-CD55-0622C4DC9C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0A7BE61-D08C-8A85-B24E-B38BBB3529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A7BE61-D08C-8A85-B24E-B38BBB352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FCA9BA99-D4F9-FEC1-A3E6-7D01A66D5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Line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8A93AD-4BCE-2E8A-B50C-01E4BF239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6FE2B9C7-C238-FC66-C8E4-D0FC1EA9B7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ED8496F-2B82-F557-5BE8-D639275E36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6" name="Chart Placeholder 7">
            <a:extLst>
              <a:ext uri="{FF2B5EF4-FFF2-40B4-BE49-F238E27FC236}">
                <a16:creationId xmlns:a16="http://schemas.microsoft.com/office/drawing/2014/main" id="{696147F1-0136-CCC8-5F0A-8C001A7D8634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768699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9</TotalTime>
  <Words>15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Line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44</cp:revision>
  <dcterms:created xsi:type="dcterms:W3CDTF">2025-07-09T10:57:17Z</dcterms:created>
  <dcterms:modified xsi:type="dcterms:W3CDTF">2025-10-22T09:42:25Z</dcterms:modified>
  <cp:category/>
</cp:coreProperties>
</file>